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339"/>
            <p14:sldId id="340"/>
            <p14:sldId id="258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50"/>
            <p14:sldId id="345"/>
            <p14:sldId id="343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6"/>
        <p:guide pos="3912"/>
        <p:guide pos="438"/>
        <p:guide orient="horz" pos="4125"/>
        <p:guide orient="horz" pos="1344"/>
        <p:guide pos="3774"/>
        <p:guide pos="7440"/>
        <p:guide pos="6600"/>
        <p:guide orient="horz" pos="577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6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106:$B$112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0</c:v>
                </c:pt>
                <c:pt idx="4">
                  <c:v>0</c:v>
                </c:pt>
                <c:pt idx="5">
                  <c:v>6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C$106:$C$112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D$106:$D$11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E$106:$E$112</c:f>
              <c:numCache>
                <c:formatCode>0%</c:formatCode>
                <c:ptCount val="7"/>
                <c:pt idx="0">
                  <c:v>0.333333333333333</c:v>
                </c:pt>
                <c:pt idx="1">
                  <c:v>-0.25</c:v>
                </c:pt>
                <c:pt idx="2">
                  <c:v>0</c:v>
                </c:pt>
                <c:pt idx="3">
                  <c:v>-1</c:v>
                </c:pt>
                <c:pt idx="4">
                  <c:v>0</c:v>
                </c:pt>
                <c:pt idx="5">
                  <c:v>0</c:v>
                </c:pt>
                <c:pt idx="6">
                  <c:v>-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  <c:pt idx="5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ac2b2a1a-9932-4dbd-a7ea-efad8cfb2abe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a8694025-797c-48b7-90af-c6c0ea29147a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0</c:formatCode>
                <c:ptCount val="52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  <c:pt idx="47">
                  <c:v>29.6666666666667</c:v>
                </c:pt>
                <c:pt idx="48">
                  <c:v>29.3877551020408</c:v>
                </c:pt>
                <c:pt idx="49">
                  <c:v>29.2</c:v>
                </c:pt>
                <c:pt idx="50">
                  <c:v>28.9803921568627</c:v>
                </c:pt>
                <c:pt idx="51">
                  <c:v>28.903846153846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8319248826291"/>
          <c:y val="0.187952898550725"/>
          <c:w val="0.801219344742289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  <c:pt idx="5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  <c:pt idx="47" c:formatCode="0">
                  <c:v>4.14285714285714</c:v>
                </c:pt>
                <c:pt idx="48" c:formatCode="0">
                  <c:v>2.28571428571429</c:v>
                </c:pt>
                <c:pt idx="49" c:formatCode="0">
                  <c:v>2.85714285714286</c:v>
                </c:pt>
                <c:pt idx="50" c:formatCode="0">
                  <c:v>2.57142857142857</c:v>
                </c:pt>
                <c:pt idx="51" c:formatCode="0">
                  <c:v>3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95</c:v>
                </c:pt>
                <c:pt idx="12">
                  <c:v>2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684931506849315</c:v>
                </c:pt>
                <c:pt idx="12" c:formatCode="0.00%">
                  <c:v>0.0141700404858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0.0674157303370786</c:v>
                </c:pt>
                <c:pt idx="12" c:formatCode="0.00%">
                  <c:v>-0.77894736842105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2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rgbClr val="848484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rgbClr val="848484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C$2:$C$53</c:f>
              <c:numCache>
                <c:formatCode>0%</c:formatCode>
                <c:ptCount val="52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  <c:pt idx="47" c:formatCode="0.00%">
                  <c:v>0.0422535211267606</c:v>
                </c:pt>
                <c:pt idx="48" c:formatCode="0.00%">
                  <c:v>0.0027027027027027</c:v>
                </c:pt>
                <c:pt idx="49" c:formatCode="0.00%">
                  <c:v>0.00269541778975741</c:v>
                </c:pt>
                <c:pt idx="50" c:formatCode="0.00%">
                  <c:v>0.00537634408602151</c:v>
                </c:pt>
                <c:pt idx="51" c:formatCode="0.00%">
                  <c:v>0.0187165775401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D$2:$D$53</c:f>
              <c:numCache>
                <c:formatCode>0%</c:formatCode>
                <c:ptCount val="5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875</c:v>
                </c:pt>
                <c:pt idx="48" c:formatCode="0.00%">
                  <c:v>-0.933333333333333</c:v>
                </c:pt>
                <c:pt idx="49" c:formatCode="0.00%">
                  <c:v>0</c:v>
                </c:pt>
                <c:pt idx="50" c:formatCode="0.00%">
                  <c:v>1</c:v>
                </c:pt>
                <c:pt idx="51" c:formatCode="0.00%">
                  <c:v>2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eb61c42d-5a9e-4e0b-9940-3120c58ad182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0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  <c:pt idx="47">
                  <c:v>7.70833333333333</c:v>
                </c:pt>
                <c:pt idx="48">
                  <c:v>7.57142857142857</c:v>
                </c:pt>
                <c:pt idx="49">
                  <c:v>7.44</c:v>
                </c:pt>
                <c:pt idx="50">
                  <c:v>7.33333333333333</c:v>
                </c:pt>
                <c:pt idx="51">
                  <c:v>7.326923076923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  <c:pt idx="47" c:formatCode="0">
                  <c:v>2.14285714285714</c:v>
                </c:pt>
                <c:pt idx="48" c:formatCode="0">
                  <c:v>0.142857142857143</c:v>
                </c:pt>
                <c:pt idx="49" c:formatCode="0">
                  <c:v>0.142857142857143</c:v>
                </c:pt>
                <c:pt idx="50" c:formatCode="0">
                  <c:v>0.285714285714286</c:v>
                </c:pt>
                <c:pt idx="51" c:formatCode="0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21</c:v>
                </c:pt>
                <c:pt idx="12">
                  <c:v>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594900849858357</c:v>
                </c:pt>
                <c:pt idx="12" c:formatCode="0.00%">
                  <c:v>0.0187165775401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2.5</c:v>
                </c:pt>
                <c:pt idx="12" c:formatCode="0.00%">
                  <c:v>-0.66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107:$B$113</c:f>
              <c:numCache>
                <c:formatCode>General</c:formatCode>
                <c:ptCount val="7"/>
                <c:pt idx="0">
                  <c:v>0.7</c:v>
                </c:pt>
                <c:pt idx="1">
                  <c:v>2.5</c:v>
                </c:pt>
                <c:pt idx="2">
                  <c:v>1.8</c:v>
                </c:pt>
                <c:pt idx="3">
                  <c:v>1.9</c:v>
                </c:pt>
                <c:pt idx="4">
                  <c:v>5.5</c:v>
                </c:pt>
                <c:pt idx="5">
                  <c:v>297.2</c:v>
                </c:pt>
                <c:pt idx="6">
                  <c:v>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C$107:$C$113</c:f>
              <c:numCache>
                <c:formatCode>0%</c:formatCode>
                <c:ptCount val="7"/>
                <c:pt idx="0">
                  <c:v>0.166666666666667</c:v>
                </c:pt>
                <c:pt idx="1">
                  <c:v>2.57142857142857</c:v>
                </c:pt>
                <c:pt idx="2">
                  <c:v>-0.28</c:v>
                </c:pt>
                <c:pt idx="3">
                  <c:v>0.0555555555555555</c:v>
                </c:pt>
                <c:pt idx="4">
                  <c:v>1.89473684210526</c:v>
                </c:pt>
                <c:pt idx="5">
                  <c:v>53.0363636363636</c:v>
                </c:pt>
                <c:pt idx="6">
                  <c:v>-0.9936069986541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99:$B$105</c:f>
              <c:numCache>
                <c:formatCode>General</c:formatCode>
                <c:ptCount val="7"/>
                <c:pt idx="0">
                  <c:v>3</c:v>
                </c:pt>
                <c:pt idx="1">
                  <c:v>4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99:$C$105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D$99:$D$10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E$99:$E$105</c:f>
              <c:numCache>
                <c:formatCode>0%</c:formatCode>
                <c:ptCount val="7"/>
                <c:pt idx="0">
                  <c:v>0.5</c:v>
                </c:pt>
                <c:pt idx="1">
                  <c:v>0.666666666666667</c:v>
                </c:pt>
                <c:pt idx="2">
                  <c:v>-0.6</c:v>
                </c:pt>
                <c:pt idx="3">
                  <c:v>1.5</c:v>
                </c:pt>
                <c:pt idx="4">
                  <c:v>-0.8</c:v>
                </c:pt>
                <c:pt idx="5">
                  <c:v>1</c:v>
                </c:pt>
                <c:pt idx="6">
                  <c:v>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8.7</c:v>
                </c:pt>
                <c:pt idx="1">
                  <c:v>2</c:v>
                </c:pt>
                <c:pt idx="2">
                  <c:v>2</c:v>
                </c:pt>
                <c:pt idx="3">
                  <c:v>5.5</c:v>
                </c:pt>
                <c:pt idx="4">
                  <c:v>0.3</c:v>
                </c:pt>
                <c:pt idx="5">
                  <c:v>0.8</c:v>
                </c:pt>
                <c:pt idx="6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100:$C$106</c:f>
              <c:numCache>
                <c:formatCode>0%</c:formatCode>
                <c:ptCount val="7"/>
                <c:pt idx="0">
                  <c:v>1.80645161290323</c:v>
                </c:pt>
                <c:pt idx="1">
                  <c:v>-0.770114942528736</c:v>
                </c:pt>
                <c:pt idx="2">
                  <c:v>0</c:v>
                </c:pt>
                <c:pt idx="3">
                  <c:v>1.75</c:v>
                </c:pt>
                <c:pt idx="4">
                  <c:v>-0.945454545454545</c:v>
                </c:pt>
                <c:pt idx="5">
                  <c:v>1.66666666666667</c:v>
                </c:pt>
                <c:pt idx="6">
                  <c:v>-0.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  <c:pt idx="51">
                  <c:v>311.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C$2:$C$53</c:f>
              <c:numCache>
                <c:formatCode>0%</c:formatCode>
                <c:ptCount val="52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  <c:pt idx="47" c:formatCode="0.00%">
                  <c:v>0.0336031770276463</c:v>
                </c:pt>
                <c:pt idx="48" c:formatCode="0.00%">
                  <c:v>0.0289640904388946</c:v>
                </c:pt>
                <c:pt idx="49" c:formatCode="0.00%">
                  <c:v>0.0145052419933937</c:v>
                </c:pt>
                <c:pt idx="50" c:formatCode="0.00%">
                  <c:v>0.0281710079275198</c:v>
                </c:pt>
                <c:pt idx="51" c:formatCode="0.00%">
                  <c:v>0.42888613520583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D$2:$D$53</c:f>
              <c:numCache>
                <c:formatCode>0%</c:formatCode>
                <c:ptCount val="5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  <c:pt idx="47" c:formatCode="0.00%">
                  <c:v>-0.725</c:v>
                </c:pt>
                <c:pt idx="48" c:formatCode="0.00%">
                  <c:v>-0.109090909090909</c:v>
                </c:pt>
                <c:pt idx="49" c:formatCode="0.00%">
                  <c:v>-0.48469387755102</c:v>
                </c:pt>
                <c:pt idx="50" c:formatCode="0.00%">
                  <c:v>0.97029702970297</c:v>
                </c:pt>
                <c:pt idx="51" c:formatCode="0.00%">
                  <c:v>14.653266331658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  <c:pt idx="51">
                  <c:v>31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0.00</c:formatCode>
                <c:ptCount val="52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  <c:pt idx="47">
                  <c:v>14.0979166666667</c:v>
                </c:pt>
                <c:pt idx="48">
                  <c:v>14.2102040816327</c:v>
                </c:pt>
                <c:pt idx="49">
                  <c:v>14.128</c:v>
                </c:pt>
                <c:pt idx="50">
                  <c:v>14.2411764705882</c:v>
                </c:pt>
                <c:pt idx="51">
                  <c:v>19.957692307692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  <c:pt idx="51">
                  <c:v>31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0.00</c:formatCode>
                <c:ptCount val="52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  <c:pt idx="47">
                  <c:v>3.14285714285714</c:v>
                </c:pt>
                <c:pt idx="48">
                  <c:v>2.8</c:v>
                </c:pt>
                <c:pt idx="49">
                  <c:v>1.44285714285714</c:v>
                </c:pt>
                <c:pt idx="50">
                  <c:v>2.84285714285714</c:v>
                </c:pt>
                <c:pt idx="51">
                  <c:v>44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77.1</c:v>
                </c:pt>
                <c:pt idx="12">
                  <c:v>308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11817903126916</c:v>
                </c:pt>
                <c:pt idx="12" c:formatCode="0.00%">
                  <c:v>0.42261823166552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204334365325078</c:v>
                </c:pt>
                <c:pt idx="12" c:formatCode="0.00%">
                  <c:v>2.9987029831387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4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05072463768116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C$100:$C$10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D$100:$D$10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E$100:$E$106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.0166666666666667</c:v>
                </c:pt>
                <c:pt idx="3">
                  <c:v>-0.0163934426229508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3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05072463768116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C$93:$C$9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D$93:$D$9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E$93:$E$99</c:f>
              <c:numCache>
                <c:formatCode>0%</c:formatCode>
                <c:ptCount val="7"/>
                <c:pt idx="0">
                  <c:v>0.0392156862745098</c:v>
                </c:pt>
                <c:pt idx="1">
                  <c:v>-0.0555555555555556</c:v>
                </c:pt>
                <c:pt idx="2">
                  <c:v>0.037037037037037</c:v>
                </c:pt>
                <c:pt idx="3">
                  <c:v>-0.0357142857142857</c:v>
                </c:pt>
                <c:pt idx="4">
                  <c:v>0.0535714285714286</c:v>
                </c:pt>
                <c:pt idx="5">
                  <c:v>-0.0338983050847458</c:v>
                </c:pt>
                <c:pt idx="6">
                  <c:v>-0.01666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  <c:pt idx="51">
                  <c:v>1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D$2:$D$53</c:f>
              <c:numCache>
                <c:formatCode>General</c:formatCode>
                <c:ptCount val="52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E$2:$E$53</c:f>
              <c:numCache>
                <c:formatCode>0.00%</c:formatCode>
                <c:ptCount val="52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  <c:pt idx="47">
                  <c:v>0.0108303249097473</c:v>
                </c:pt>
                <c:pt idx="48">
                  <c:v>0.0125</c:v>
                </c:pt>
                <c:pt idx="49">
                  <c:v>0.0017636684303351</c:v>
                </c:pt>
                <c:pt idx="50">
                  <c:v>0.0158450704225352</c:v>
                </c:pt>
                <c:pt idx="51">
                  <c:v>0.00173310225303293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F$2:$F$53</c:f>
              <c:numCache>
                <c:formatCode>0.00%</c:formatCode>
                <c:ptCount val="52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  <c:pt idx="47">
                  <c:v>-0.454545454545455</c:v>
                </c:pt>
                <c:pt idx="48">
                  <c:v>0.166666666666667</c:v>
                </c:pt>
                <c:pt idx="49">
                  <c:v>-0.857142857142857</c:v>
                </c:pt>
                <c:pt idx="50">
                  <c:v>8</c:v>
                </c:pt>
                <c:pt idx="51">
                  <c:v>-0.88888888888888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  <c:pt idx="51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D$2:$D$53</c:f>
              <c:numCache>
                <c:formatCode>General</c:formatCode>
                <c:ptCount val="52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E$2:$E$53</c:f>
              <c:numCache>
                <c:formatCode>0</c:formatCode>
                <c:ptCount val="52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  <c:pt idx="47">
                  <c:v>11.6666666666667</c:v>
                </c:pt>
                <c:pt idx="48">
                  <c:v>11.5714285714286</c:v>
                </c:pt>
                <c:pt idx="49">
                  <c:v>11.36</c:v>
                </c:pt>
                <c:pt idx="50">
                  <c:v>11.3137254901961</c:v>
                </c:pt>
                <c:pt idx="51">
                  <c:v>11.115384615384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E$2:$E$53</c:f>
              <c:numCache>
                <c:formatCode>0.0</c:formatCode>
                <c:ptCount val="52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428571428571429</c:v>
                </c:pt>
                <c:pt idx="48">
                  <c:v>0.857142857142857</c:v>
                </c:pt>
                <c:pt idx="49">
                  <c:v>0.142857142857143</c:v>
                </c:pt>
                <c:pt idx="50">
                  <c:v>0.857142857142857</c:v>
                </c:pt>
                <c:pt idx="51">
                  <c:v>0.142857142857143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F$2:$F$53</c:f>
              <c:numCache>
                <c:formatCode>0.0</c:formatCode>
                <c:ptCount val="52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  <c:pt idx="47">
                  <c:v>0.14285714285714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G$2:$G$53</c:f>
              <c:numCache>
                <c:formatCode>0.0</c:formatCode>
                <c:ptCount val="52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  <c:pt idx="47">
                  <c:v>0.285714285714286</c:v>
                </c:pt>
                <c:pt idx="48">
                  <c:v>0.142857142857143</c:v>
                </c:pt>
                <c:pt idx="49">
                  <c:v>0</c:v>
                </c:pt>
                <c:pt idx="50">
                  <c:v>0.428571428571429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H$2:$H$53</c:f>
              <c:numCache>
                <c:formatCode>0</c:formatCode>
                <c:ptCount val="52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857142857142857</c:v>
                </c:pt>
                <c:pt idx="48">
                  <c:v>1</c:v>
                </c:pt>
                <c:pt idx="49">
                  <c:v>0.142857142857143</c:v>
                </c:pt>
                <c:pt idx="50">
                  <c:v>1.28571428571429</c:v>
                </c:pt>
                <c:pt idx="51">
                  <c:v>0.1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11</c:v>
                </c:pt>
                <c:pt idx="50">
                  <c:v>14</c:v>
                </c:pt>
                <c:pt idx="51">
                  <c:v>1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  <c:pt idx="5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D$2:$D$53</c:f>
              <c:numCache>
                <c:formatCode>General</c:formatCode>
                <c:ptCount val="52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E$2:$E$53</c:f>
              <c:numCache>
                <c:formatCode>0.00%</c:formatCode>
                <c:ptCount val="52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569948186528497</c:v>
                </c:pt>
                <c:pt idx="47">
                  <c:v>0.102702702702703</c:v>
                </c:pt>
                <c:pt idx="48">
                  <c:v>0.110526315789474</c:v>
                </c:pt>
                <c:pt idx="49">
                  <c:v>0.0653266331658292</c:v>
                </c:pt>
                <c:pt idx="50">
                  <c:v>0.0962566844919786</c:v>
                </c:pt>
                <c:pt idx="51">
                  <c:v>0.098445595854922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F$2:$F$53</c:f>
              <c:numCache>
                <c:formatCode>0.00%</c:formatCode>
                <c:ptCount val="52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352941176470588</c:v>
                </c:pt>
                <c:pt idx="47">
                  <c:v>0.727272727272727</c:v>
                </c:pt>
                <c:pt idx="48">
                  <c:v>0.105263157894737</c:v>
                </c:pt>
                <c:pt idx="49">
                  <c:v>-0.380952380952381</c:v>
                </c:pt>
                <c:pt idx="50">
                  <c:v>0.384615384615385</c:v>
                </c:pt>
                <c:pt idx="51">
                  <c:v>0.055555555555555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987272727272727"/>
          <c:y val="0.181235100561432"/>
          <c:w val="0.824683501683502"/>
          <c:h val="0.414072737307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21</c:v>
                </c:pt>
                <c:pt idx="12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bf14aa59-7698-463e-bd33-d2d1fe9e3fdb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1b4342f3-216d-41ca-aede-2ead4ec71a65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71765864-8576-427d-b928-2163df863185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e90f805f-db3b-4a68-be60-d65644c2cc26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3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6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E$2:$E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508166969147005</c:v>
                </c:pt>
                <c:pt idx="12" c:formatCode="0%">
                  <c:v>0.0017271157167530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F$2:$F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0.75</c:v>
                </c:pt>
                <c:pt idx="12" c:formatCode="0%">
                  <c:v>-0.96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51</c:v>
                </c:pt>
                <c:pt idx="1">
                  <c:v>101</c:v>
                </c:pt>
                <c:pt idx="2">
                  <c:v>1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D$2:$D$53</c:f>
              <c:numCache>
                <c:formatCode>General</c:formatCode>
                <c:ptCount val="5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E$2:$E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F$2:$F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G$2:$G$53</c:f>
              <c:numCache>
                <c:formatCode>0%</c:formatCode>
                <c:ptCount val="52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H$2:$H$53</c:f>
              <c:numCache>
                <c:formatCode>0%</c:formatCode>
                <c:ptCount val="5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D$2:$D$53</c:f>
              <c:numCache>
                <c:formatCode>General</c:formatCode>
                <c:ptCount val="5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E$2:$E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F$2:$F$53</c:f>
              <c:numCache>
                <c:formatCode>General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G$2:$G$53</c:f>
              <c:numCache>
                <c:formatCode>0</c:formatCode>
                <c:ptCount val="52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  <c:pt idx="47">
                  <c:v>0.604166666666667</c:v>
                </c:pt>
                <c:pt idx="48">
                  <c:v>0.591836734693878</c:v>
                </c:pt>
                <c:pt idx="49">
                  <c:v>0.58</c:v>
                </c:pt>
                <c:pt idx="50">
                  <c:v>0.568627450980392</c:v>
                </c:pt>
                <c:pt idx="51">
                  <c:v>0.5576923076923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G$2:$G$53</c:f>
              <c:numCache>
                <c:formatCode>0.00</c:formatCode>
                <c:ptCount val="52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H$2:$H$53</c:f>
              <c:numCache>
                <c:formatCode>0.00</c:formatCode>
                <c:ptCount val="52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I$2:$I$53</c:f>
              <c:numCache>
                <c:formatCode>0.00</c:formatCode>
                <c:ptCount val="52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J$2:$J$53</c:f>
              <c:numCache>
                <c:formatCode>0.00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K$2:$K$53</c:f>
              <c:numCache>
                <c:formatCode>0.00</c:formatCode>
                <c:ptCount val="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L$2:$L$53</c:f>
              <c:numCache>
                <c:formatCode>0.00</c:formatCode>
                <c:ptCount val="52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3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E$2:$E$14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F$2:$F$14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G$2:$G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  <c:pt idx="12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H$2:$H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  <c:pt idx="12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C$2:$C$53</c:f>
              <c:numCache>
                <c:formatCode>0%</c:formatCode>
                <c:ptCount val="52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  <c:pt idx="47" c:formatCode="0.00%">
                  <c:v>0.0422535211267606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D$2:$D$53</c:f>
              <c:numCache>
                <c:formatCode>0%</c:formatCode>
                <c:ptCount val="5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5</c:v>
                </c:pt>
                <c:pt idx="48" c:formatCode="0.00%">
                  <c:v>-1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0</c:formatCode>
                <c:ptCount val="52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  <c:pt idx="47">
                  <c:v>1.54166666666667</c:v>
                </c:pt>
                <c:pt idx="48">
                  <c:v>1.51020408163265</c:v>
                </c:pt>
                <c:pt idx="49">
                  <c:v>1.48</c:v>
                </c:pt>
                <c:pt idx="50">
                  <c:v>1.45098039215686</c:v>
                </c:pt>
                <c:pt idx="51">
                  <c:v>1.4230769230769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0.00</c:formatCode>
                <c:ptCount val="52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  <c:pt idx="47">
                  <c:v>0.428571428571429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571428571428571</c:v>
                </c:pt>
                <c:pt idx="12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3</c:v>
                </c:pt>
                <c:pt idx="12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637055931389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9</c:v>
                </c:pt>
                <c:pt idx="50">
                  <c:v>14</c:v>
                </c:pt>
                <c:pt idx="51">
                  <c:v>1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C$2:$C$53</c:f>
              <c:numCache>
                <c:formatCode>General</c:formatCode>
                <c:ptCount val="52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  <c:pt idx="5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D$2:$D$53</c:f>
              <c:numCache>
                <c:formatCode>General</c:formatCode>
                <c:ptCount val="52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E$2:$E$53</c:f>
              <c:numCache>
                <c:formatCode>0</c:formatCode>
                <c:ptCount val="52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531914893617</c:v>
                </c:pt>
                <c:pt idx="47">
                  <c:v>25.3958333333333</c:v>
                </c:pt>
                <c:pt idx="48">
                  <c:v>25.3061224489796</c:v>
                </c:pt>
                <c:pt idx="49">
                  <c:v>25.02</c:v>
                </c:pt>
                <c:pt idx="50">
                  <c:v>24.8823529411765</c:v>
                </c:pt>
                <c:pt idx="51">
                  <c:v>24.76923076923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4177207337489"/>
          <c:y val="0.152993098031772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E$2:$E$53</c:f>
              <c:numCache>
                <c:formatCode>0</c:formatCode>
                <c:ptCount val="52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1.28571428571429</c:v>
                </c:pt>
                <c:pt idx="47">
                  <c:v>2.14285714285714</c:v>
                </c:pt>
                <c:pt idx="48">
                  <c:v>2.85714285714286</c:v>
                </c:pt>
                <c:pt idx="49">
                  <c:v>1.28571428571429</c:v>
                </c:pt>
                <c:pt idx="50">
                  <c:v>2</c:v>
                </c:pt>
                <c:pt idx="51">
                  <c:v>2.57142857142857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F$2:$F$53</c:f>
              <c:numCache>
                <c:formatCode>General</c:formatCode>
                <c:ptCount val="52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285714285714286</c:v>
                </c:pt>
                <c:pt idx="47" c:formatCode="0">
                  <c:v>0.571428571428571</c:v>
                </c:pt>
                <c:pt idx="48" c:formatCode="0">
                  <c:v>0.142857142857143</c:v>
                </c:pt>
                <c:pt idx="49" c:formatCode="0">
                  <c:v>0.285714285714286</c:v>
                </c:pt>
                <c:pt idx="50" c:formatCode="0">
                  <c:v>0.571428571428571</c:v>
                </c:pt>
                <c:pt idx="51" c:formatCode="0">
                  <c:v>0.1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G$2:$G$53</c:f>
              <c:numCache>
                <c:formatCode>0</c:formatCode>
                <c:ptCount val="52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</c:strCache>
            </c:strRef>
          </c:cat>
          <c:val>
            <c:numRef>
              <c:f>Sheet1!$H$2:$H$53</c:f>
              <c:numCache>
                <c:formatCode>0</c:formatCode>
                <c:ptCount val="52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.57142857142857</c:v>
                </c:pt>
                <c:pt idx="47">
                  <c:v>2.71428571428571</c:v>
                </c:pt>
                <c:pt idx="48">
                  <c:v>3</c:v>
                </c:pt>
                <c:pt idx="49">
                  <c:v>1.57142857142857</c:v>
                </c:pt>
                <c:pt idx="50">
                  <c:v>2.57142857142857</c:v>
                </c:pt>
                <c:pt idx="51">
                  <c:v>2.714285714285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  <c:pt idx="11">
                  <c:v>71</c:v>
                </c:pt>
                <c:pt idx="12">
                  <c:v>1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  <c:pt idx="11">
                  <c:v>14</c:v>
                </c:pt>
                <c:pt idx="1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3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E$2:$E$14</c:f>
              <c:numCache>
                <c:formatCode>0%</c:formatCode>
                <c:ptCount val="13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  <c:pt idx="11">
                  <c:v>1.57407407407407</c:v>
                </c:pt>
                <c:pt idx="12">
                  <c:v>0.14117647058823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F$2:$F$14</c:f>
              <c:numCache>
                <c:formatCode>0%</c:formatCode>
                <c:ptCount val="13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  <c:pt idx="11">
                  <c:v>0.574074074074074</c:v>
                </c:pt>
                <c:pt idx="12">
                  <c:v>-0.85882352941176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4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107:$B$113</c:f>
              <c:numCache>
                <c:formatCode>General</c:formatCode>
                <c:ptCount val="7"/>
                <c:pt idx="0">
                  <c:v>3</c:v>
                </c:pt>
                <c:pt idx="1">
                  <c:v>1</c:v>
                </c:pt>
                <c:pt idx="2">
                  <c:v>5</c:v>
                </c:pt>
                <c:pt idx="3">
                  <c:v>6</c:v>
                </c:pt>
                <c:pt idx="4">
                  <c:v>1</c:v>
                </c:pt>
                <c:pt idx="5">
                  <c:v>4</c:v>
                </c:pt>
                <c:pt idx="6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C$107:$C$113</c:f>
              <c:numCache>
                <c:formatCode>0%</c:formatCode>
                <c:ptCount val="7"/>
                <c:pt idx="0">
                  <c:v>0.5</c:v>
                </c:pt>
                <c:pt idx="1">
                  <c:v>-0.666666666666667</c:v>
                </c:pt>
                <c:pt idx="2">
                  <c:v>4</c:v>
                </c:pt>
                <c:pt idx="3">
                  <c:v>0.2</c:v>
                </c:pt>
                <c:pt idx="4">
                  <c:v>-0.833333333333333</c:v>
                </c:pt>
                <c:pt idx="5">
                  <c:v>3</c:v>
                </c:pt>
                <c:pt idx="6">
                  <c:v>0.2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3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100:$C$106</c:f>
              <c:numCache>
                <c:formatCode>0%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-0.75</c:v>
                </c:pt>
                <c:pt idx="4">
                  <c:v>1</c:v>
                </c:pt>
                <c:pt idx="5">
                  <c:v>0.5</c:v>
                </c:pt>
                <c:pt idx="6">
                  <c:v>-0.33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289988899343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B$2:$B$53</c:f>
              <c:numCache>
                <c:formatCode>General</c:formatCode>
                <c:ptCount val="52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  <c:pt idx="51">
                  <c:v>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C$2:$C$53</c:f>
              <c:numCache>
                <c:formatCode>0%</c:formatCode>
                <c:ptCount val="52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  <c:pt idx="47" c:formatCode="0.00%">
                  <c:v>0.0207885304659498</c:v>
                </c:pt>
                <c:pt idx="48" c:formatCode="0.00%">
                  <c:v>0.0112359550561798</c:v>
                </c:pt>
                <c:pt idx="49" c:formatCode="0.00%">
                  <c:v>0.0138888888888889</c:v>
                </c:pt>
                <c:pt idx="50" c:formatCode="0.00%">
                  <c:v>0.0123287671232877</c:v>
                </c:pt>
                <c:pt idx="51" c:formatCode="0.00%">
                  <c:v>0.01691474966170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3</c:f>
              <c:strCache>
                <c:ptCount val="5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</c:strCache>
            </c:strRef>
          </c:cat>
          <c:val>
            <c:numRef>
              <c:f>Sheet1!$D$2:$D$53</c:f>
              <c:numCache>
                <c:formatCode>0%</c:formatCode>
                <c:ptCount val="5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  <c:pt idx="47" c:formatCode="0.00%">
                  <c:v>0.0357142857142857</c:v>
                </c:pt>
                <c:pt idx="48" c:formatCode="0.00%">
                  <c:v>-0.448275862068966</c:v>
                </c:pt>
                <c:pt idx="49" c:formatCode="0.00%">
                  <c:v>0.25</c:v>
                </c:pt>
                <c:pt idx="50" c:formatCode="0.00%">
                  <c:v>-0.1</c:v>
                </c:pt>
                <c:pt idx="51" c:formatCode="0.00%">
                  <c:v>0.38888888888888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2" Type="http://schemas.openxmlformats.org/officeDocument/2006/relationships/chart" Target="../charts/chart14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7.xml"/><Relationship Id="rId1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20.xml"/><Relationship Id="rId1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3.xml"/><Relationship Id="rId1" Type="http://schemas.openxmlformats.org/officeDocument/2006/relationships/chart" Target="../charts/chart22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4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4.xml"/><Relationship Id="rId1" Type="http://schemas.openxmlformats.org/officeDocument/2006/relationships/chart" Target="../charts/chart33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5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8.xml"/><Relationship Id="rId1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9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70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14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</a:t>
            </a:r>
            <a:r>
              <a:rPr lang="en-US" altLang="en-GB" dirty="0"/>
              <a:t>pr</a:t>
            </a:r>
            <a:r>
              <a:rPr lang="en-US" altLang="zh-CN" dirty="0"/>
              <a:t> 08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14 vs. CW1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452870" y="2252345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图表 6"/>
          <p:cNvGraphicFramePr/>
          <p:nvPr/>
        </p:nvGraphicFramePr>
        <p:xfrm>
          <a:off x="6094845" y="2252345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14 vs. CW1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497320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14 vs. CW13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14 vs. CW13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14 vs. CW13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14 vs. CW13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14 vs. CW13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14 vs. CW13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14 vs. CW13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14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14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14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14 vs. CW13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58495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14 vs. CW13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4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" name="TextBox 1"/>
          <p:cNvSpPr txBox="1"/>
          <p:nvPr/>
        </p:nvSpPr>
        <p:spPr>
          <a:xfrm>
            <a:off x="6967855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3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55247" y="2501727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Ap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14 vs. CW13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1748790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4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7334885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47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4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3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12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9.52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3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.6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73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8.89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50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9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8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3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1.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.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65.3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37.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.9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83.3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7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9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4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sym typeface="+mn-ea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4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8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4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706524" y="129413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14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4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9" name="内容占位符 8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4" y="1341438"/>
          <a:ext cx="11339830" cy="530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3405"/>
                <a:gridCol w="2007235"/>
                <a:gridCol w="1544320"/>
                <a:gridCol w="1543685"/>
                <a:gridCol w="2007235"/>
                <a:gridCol w="1313180"/>
                <a:gridCol w="1080770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2020/3/30 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1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2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GMT+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弹性公网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P-EIP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3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7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14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14 vs. CW1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6034" y="90805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8804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4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4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4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4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6502083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90970" y="5648766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3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4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47483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95440" y="147955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14 vs. CW1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441741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KSO_WM_UNIT_TABLE_BEAUTIFY" val="smartTable{a7b48daa-640c-4a45-8ea6-4a11ea6a042d}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hinkcellActiveDocDoNotDelete"/>
</p:tagLst>
</file>

<file path=ppt/tags/tag71.xml><?xml version="1.0" encoding="utf-8"?>
<p:tagLst xmlns:p="http://schemas.openxmlformats.org/presentationml/2006/main">
  <p:tag name="THINKCELLSHAPEDONOTDELETE" val="tAqrdWBk6QOqdh7N2Sulvng"/>
</p:tagLst>
</file>

<file path=ppt/tags/tag72.xml><?xml version="1.0" encoding="utf-8"?>
<p:tagLst xmlns:p="http://schemas.openxmlformats.org/presentationml/2006/main">
  <p:tag name="KSO_WM_UNIT_TABLE_BEAUTIFY" val="smartTable{a37833e2-7a5c-4f0d-94aa-47f774f57f94}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tAqrdWBk6QOqdh7N2Sulvng"/>
</p:tagLst>
</file>

<file path=ppt/tags/tag75.xml><?xml version="1.0" encoding="utf-8"?>
<p:tagLst xmlns:p="http://schemas.openxmlformats.org/presentationml/2006/main">
  <p:tag name="KSO_WM_UNIT_TABLE_BEAUTIFY" val="smartTable{dfb63ea6-2e9e-4201-988a-f90fc0aa7d9f}"/>
</p:tagLst>
</file>

<file path=ppt/tags/tag76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0963</Words>
  <Application>WPS 演示</Application>
  <PresentationFormat>宽屏</PresentationFormat>
  <Paragraphs>683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5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Impact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14, 2020)   Apr 07,2020 </vt:lpstr>
      <vt:lpstr>Content</vt:lpstr>
      <vt:lpstr>Data summary  </vt:lpstr>
      <vt:lpstr>Daily downloads CW14 vs. CW13</vt:lpstr>
      <vt:lpstr>Weekly downloads since go live</vt:lpstr>
      <vt:lpstr>Average weekly downloads &amp; average daily downloads</vt:lpstr>
      <vt:lpstr>Monthly downloads since go live </vt:lpstr>
      <vt:lpstr>Daily active users CW14 vs. CW13</vt:lpstr>
      <vt:lpstr>Weekly active users since go live </vt:lpstr>
      <vt:lpstr>Average weekly active users &amp; average daily active users </vt:lpstr>
      <vt:lpstr>Monthly actives users since go live</vt:lpstr>
      <vt:lpstr>Daily journeys CW14 vs. CW13</vt:lpstr>
      <vt:lpstr>Weekly journeys since go live </vt:lpstr>
      <vt:lpstr>Average weekly journeys &amp; average daily journeys</vt:lpstr>
      <vt:lpstr>Monthly journeys since go live</vt:lpstr>
      <vt:lpstr>Daily running time CW14 vs. CW13</vt:lpstr>
      <vt:lpstr>Weekly running time since go live </vt:lpstr>
      <vt:lpstr>Average weekly running time &amp; average daily running time</vt:lpstr>
      <vt:lpstr>Monthly running time since go live </vt:lpstr>
      <vt:lpstr>User activities CW14 vs. CW13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14 vs. CW13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14 vs. CW13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14</vt:lpstr>
      <vt:lpstr>Log &amp; alert review report of CW14  </vt:lpstr>
      <vt:lpstr>SLA report of CW14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兔八哥</cp:lastModifiedBy>
  <cp:revision>1319</cp:revision>
  <dcterms:created xsi:type="dcterms:W3CDTF">2019-06-18T08:03:00Z</dcterms:created>
  <dcterms:modified xsi:type="dcterms:W3CDTF">2020-04-08T02:2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64</vt:lpwstr>
  </property>
</Properties>
</file>